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sldIdLst>
    <p:sldId id="256" r:id="rId3"/>
    <p:sldId id="257" r:id="rId4"/>
    <p:sldId id="258" r:id="rId5"/>
  </p:sldIdLst>
  <p:sldSz cx="9144000" cy="5143500" type="screen16x9"/>
  <p:notesSz cx="9144000" cy="51435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6" d="100"/>
          <a:sy n="96" d="100"/>
        </p:scale>
        <p:origin x="994" y="72"/>
      </p:cViewPr>
      <p:guideLst>
        <p:guide orient="horz" pos="2876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gs" Target="tags/tag5.xml"/><Relationship Id="rId8" Type="http://schemas.openxmlformats.org/officeDocument/2006/relationships/tableStyles" Target="tableStyles.xml"/><Relationship Id="rId7" Type="http://schemas.openxmlformats.org/officeDocument/2006/relationships/viewProps" Target="viewProps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415363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png"/><Relationship Id="rId8" Type="http://schemas.openxmlformats.org/officeDocument/2006/relationships/image" Target="../media/image1.emf"/><Relationship Id="rId7" Type="http://schemas.openxmlformats.org/officeDocument/2006/relationships/oleObject" Target="../embeddings/oleObject1.bin"/><Relationship Id="rId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4568952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144">
            <a:solidFill>
              <a:srgbClr val="094D80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17" name="bg object 17"/>
          <p:cNvSpPr/>
          <p:nvPr/>
        </p:nvSpPr>
        <p:spPr>
          <a:xfrm>
            <a:off x="7531693" y="4669126"/>
            <a:ext cx="348615" cy="352425"/>
          </a:xfrm>
          <a:custGeom>
            <a:avLst/>
            <a:gdLst/>
            <a:ahLst/>
            <a:cxnLst/>
            <a:rect l="l" t="t" r="r" b="b"/>
            <a:pathLst>
              <a:path w="348615" h="352425">
                <a:moveTo>
                  <a:pt x="348370" y="0"/>
                </a:moveTo>
                <a:lnTo>
                  <a:pt x="0" y="0"/>
                </a:lnTo>
                <a:lnTo>
                  <a:pt x="0" y="352046"/>
                </a:lnTo>
                <a:lnTo>
                  <a:pt x="348370" y="352046"/>
                </a:lnTo>
                <a:lnTo>
                  <a:pt x="348370" y="0"/>
                </a:lnTo>
                <a:close/>
              </a:path>
            </a:pathLst>
          </a:custGeom>
          <a:solidFill>
            <a:srgbClr val="B72E2A"/>
          </a:solidFill>
        </p:spPr>
        <p:txBody>
          <a:bodyPr wrap="square" lIns="0" tIns="0" rIns="0" bIns="0" rtlCol="0"/>
          <a:lstStyle/>
          <a:p/>
        </p:txBody>
      </p:sp>
      <p:pic>
        <p:nvPicPr>
          <p:cNvPr id="18" name="bg object 1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643787" y="4749304"/>
            <a:ext cx="125798" cy="204306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/>
        </p:txBody>
      </p:sp>
      <p:sp>
        <p:nvSpPr>
          <p:cNvPr id="3" name="Holder 2"/>
          <p:cNvSpPr>
            <a:spLocks noGrp="1"/>
          </p:cNvSpPr>
          <p:nvPr>
            <p:ph type="title"/>
          </p:nvPr>
        </p:nvSpPr>
        <p:spPr>
          <a:xfrm>
            <a:off x="457606" y="232994"/>
            <a:ext cx="8228787" cy="391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4" name="Holder 3"/>
          <p:cNvSpPr>
            <a:spLocks noGrp="1"/>
          </p:cNvSpPr>
          <p:nvPr>
            <p:ph type="body" idx="1"/>
          </p:nvPr>
        </p:nvSpPr>
        <p:spPr>
          <a:xfrm>
            <a:off x="670560" y="2077085"/>
            <a:ext cx="7802879" cy="13061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15363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31291" y="4792355"/>
            <a:ext cx="332549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ct val="100000"/>
              </a:lnSpc>
              <a:spcBef>
                <a:spcPts val="150"/>
              </a:spcBef>
              <a:tabLst>
                <a:tab pos="287020" algn="l"/>
              </a:tabLst>
            </a:pPr>
            <a:fld id="{81D60167-4931-47E6-BA6A-407CBD079E47}" type="slidenum">
              <a:rPr lang="en-AU" b="1" spc="-5" smtClean="0"/>
            </a:fld>
            <a:r>
              <a:rPr lang="en-AU" b="1" spc="-5" dirty="0"/>
              <a:t>	</a:t>
            </a:r>
            <a:r>
              <a:rPr lang="en-AU" sz="1350" baseline="9000" dirty="0">
                <a:solidFill>
                  <a:srgbClr val="415363"/>
                </a:solidFill>
              </a:rPr>
              <a:t>|</a:t>
            </a:r>
            <a:r>
              <a:rPr lang="en-AU" sz="1350" spc="187" baseline="9000" dirty="0">
                <a:solidFill>
                  <a:srgbClr val="415363"/>
                </a:solidFill>
              </a:rPr>
              <a:t> </a:t>
            </a:r>
            <a:r>
              <a:rPr lang="en-AU" spc="-5" dirty="0"/>
              <a:t>Virtual Experience Program</a:t>
            </a:r>
            <a:endParaRPr sz="900" dirty="0">
              <a:latin typeface="Arial" panose="020B0604020202020204"/>
              <a:cs typeface="Arial" panose="020B060402020202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2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7531693" y="4669126"/>
            <a:ext cx="348615" cy="352425"/>
            <a:chOff x="7531693" y="4669126"/>
            <a:chExt cx="348615" cy="352425"/>
          </a:xfrm>
        </p:grpSpPr>
        <p:sp>
          <p:nvSpPr>
            <p:cNvPr id="6" name="object 6"/>
            <p:cNvSpPr/>
            <p:nvPr/>
          </p:nvSpPr>
          <p:spPr>
            <a:xfrm>
              <a:off x="7531693" y="4669126"/>
              <a:ext cx="348615" cy="352425"/>
            </a:xfrm>
            <a:custGeom>
              <a:avLst/>
              <a:gdLst/>
              <a:ahLst/>
              <a:cxnLst/>
              <a:rect l="l" t="t" r="r" b="b"/>
              <a:pathLst>
                <a:path w="348615" h="352425">
                  <a:moveTo>
                    <a:pt x="348370" y="0"/>
                  </a:moveTo>
                  <a:lnTo>
                    <a:pt x="0" y="0"/>
                  </a:lnTo>
                  <a:lnTo>
                    <a:pt x="0" y="352046"/>
                  </a:lnTo>
                  <a:lnTo>
                    <a:pt x="348370" y="352046"/>
                  </a:lnTo>
                  <a:lnTo>
                    <a:pt x="348370" y="0"/>
                  </a:lnTo>
                  <a:close/>
                </a:path>
              </a:pathLst>
            </a:custGeom>
            <a:solidFill>
              <a:srgbClr val="B72E2A"/>
            </a:solidFill>
          </p:spPr>
          <p:txBody>
            <a:bodyPr wrap="square" lIns="0" tIns="0" rIns="0" bIns="0" rtlCol="0"/>
            <a:lstStyle/>
            <a:p/>
          </p:txBody>
        </p:sp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643787" y="4749304"/>
              <a:ext cx="125798" cy="204306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1" name="object 4"/>
          <p:cNvSpPr/>
          <p:nvPr/>
        </p:nvSpPr>
        <p:spPr>
          <a:xfrm>
            <a:off x="0" y="-9063"/>
            <a:ext cx="9144000" cy="2334895"/>
          </a:xfrm>
          <a:custGeom>
            <a:avLst/>
            <a:gdLst/>
            <a:ahLst/>
            <a:cxnLst/>
            <a:rect l="l" t="t" r="r" b="b"/>
            <a:pathLst>
              <a:path w="9144000" h="2334895">
                <a:moveTo>
                  <a:pt x="9144000" y="0"/>
                </a:moveTo>
                <a:lnTo>
                  <a:pt x="0" y="0"/>
                </a:lnTo>
                <a:lnTo>
                  <a:pt x="0" y="2334768"/>
                </a:lnTo>
                <a:lnTo>
                  <a:pt x="9144000" y="2334768"/>
                </a:lnTo>
                <a:lnTo>
                  <a:pt x="9144000" y="0"/>
                </a:lnTo>
                <a:close/>
              </a:path>
            </a:pathLst>
          </a:custGeom>
          <a:solidFill>
            <a:srgbClr val="094D8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12" name="object 9"/>
          <p:cNvSpPr txBox="1"/>
          <p:nvPr/>
        </p:nvSpPr>
        <p:spPr>
          <a:xfrm>
            <a:off x="533400" y="1276350"/>
            <a:ext cx="5835704" cy="9658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pPr marL="12700">
              <a:spcBef>
                <a:spcPts val="95"/>
              </a:spcBef>
            </a:pPr>
            <a:r>
              <a:rPr lang="en-AU" sz="2200" kern="0" spc="-5" dirty="0">
                <a:solidFill>
                  <a:srgbClr val="FFFFFF"/>
                </a:solidFill>
              </a:rPr>
              <a:t>Fidelity</a:t>
            </a:r>
            <a:br>
              <a:rPr lang="en-AU" sz="2200" kern="0" spc="-5" dirty="0">
                <a:solidFill>
                  <a:srgbClr val="FFFFFF"/>
                </a:solidFill>
              </a:rPr>
            </a:br>
            <a:r>
              <a:rPr lang="en-AU" sz="1400" kern="0" spc="-5" dirty="0">
                <a:solidFill>
                  <a:srgbClr val="FFFFFF"/>
                </a:solidFill>
              </a:rPr>
              <a:t>Virtual Experience Program</a:t>
            </a:r>
            <a:br>
              <a:rPr lang="en-AU" sz="1400" kern="0" spc="-5" dirty="0">
                <a:solidFill>
                  <a:srgbClr val="FFFFFF"/>
                </a:solidFill>
              </a:rPr>
            </a:br>
            <a:br>
              <a:rPr lang="en-AU" sz="1400" kern="0" spc="-5" dirty="0">
                <a:solidFill>
                  <a:srgbClr val="FFFFFF"/>
                </a:solidFill>
              </a:rPr>
            </a:br>
            <a:r>
              <a:rPr lang="en-GB" sz="1200" b="0" kern="0" spc="-5" dirty="0">
                <a:solidFill>
                  <a:srgbClr val="FFFFFF"/>
                </a:solidFill>
              </a:rPr>
              <a:t>Task 3 </a:t>
            </a:r>
            <a:endParaRPr lang="en-GB" sz="1200" b="0" kern="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dirty="0"/>
              <a:t>SWOT Analysis: Tesla</a:t>
            </a:r>
            <a:endParaRPr spc="-10" dirty="0"/>
          </a:p>
        </p:txBody>
      </p:sp>
      <p:sp>
        <p:nvSpPr>
          <p:cNvPr id="8" name="Rectangle 7"/>
          <p:cNvSpPr/>
          <p:nvPr/>
        </p:nvSpPr>
        <p:spPr>
          <a:xfrm>
            <a:off x="685800" y="895350"/>
            <a:ext cx="7772400" cy="34480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0" name="Straight Connector 9"/>
          <p:cNvCxnSpPr>
            <a:stCxn id="8" idx="0"/>
          </p:cNvCxnSpPr>
          <p:nvPr/>
        </p:nvCxnSpPr>
        <p:spPr>
          <a:xfrm>
            <a:off x="4572000" y="895350"/>
            <a:ext cx="0" cy="34480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85800" y="895350"/>
            <a:ext cx="3886197" cy="3390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s</a:t>
            </a:r>
            <a:endParaRPr lang="en-A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85800" y="2571750"/>
            <a:ext cx="3886198" cy="33903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  <a:endParaRPr lang="en-A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572003" y="895350"/>
            <a:ext cx="3886197" cy="33903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knesses</a:t>
            </a:r>
            <a:endParaRPr lang="en-A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72002" y="2571750"/>
            <a:ext cx="3886198" cy="33903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s</a:t>
            </a:r>
            <a:endParaRPr lang="en-A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3"/>
          <p:cNvSpPr txBox="1"/>
          <p:nvPr/>
        </p:nvSpPr>
        <p:spPr>
          <a:xfrm>
            <a:off x="766761" y="1291560"/>
            <a:ext cx="3724275" cy="1158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Leading position in the electric vehicle market and associated technologies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Unique proprietary technology and hardware for electric vehicles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Strong, well-recognized premium brand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Ability to cross-sell across various product lines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8" name="object 3"/>
          <p:cNvSpPr txBox="1"/>
          <p:nvPr/>
        </p:nvSpPr>
        <p:spPr>
          <a:xfrm>
            <a:off x="4652964" y="1291560"/>
            <a:ext cx="3724275" cy="1158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Limited manufacturing capacity to satisfy demand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Supply chain issues arising from advanced technology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Dependence on critical inputs for their products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Risk associated with reliance on key individuals (Elon Musk)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21" name="object 3"/>
          <p:cNvSpPr txBox="1"/>
          <p:nvPr/>
        </p:nvSpPr>
        <p:spPr>
          <a:xfrm>
            <a:off x="766761" y="2994020"/>
            <a:ext cx="3724275" cy="13436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Potential for global expansion of its product offerings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Opportunity to enhance revenue from higher-margin services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Targeting both mid-range and premium market segments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 dirty="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Possibility to produce key inputs in-house (e.g., batteries)</a:t>
            </a:r>
            <a:endParaRPr lang="en-AU" sz="1200" dirty="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22" name="object 3"/>
          <p:cNvSpPr txBox="1"/>
          <p:nvPr/>
        </p:nvSpPr>
        <p:spPr>
          <a:xfrm>
            <a:off x="4652964" y="2994020"/>
            <a:ext cx="3724275" cy="1158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Growing competition in the market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Shortages of essential inputs and materials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Risks related to product liability and defects (due to advanced technology)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  <a:p>
            <a:pPr marL="18415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AU" sz="1200">
                <a:solidFill>
                  <a:srgbClr val="415363"/>
                </a:solidFill>
                <a:latin typeface="Arial" panose="020B0604020202020204"/>
                <a:cs typeface="Arial" panose="020B0604020202020204"/>
              </a:rPr>
              <a:t>Regulatory challenges concerning self-driving vehicles</a:t>
            </a:r>
            <a:endParaRPr lang="en-AU" sz="1200">
              <a:solidFill>
                <a:srgbClr val="415363"/>
              </a:solidFill>
              <a:latin typeface="Arial" panose="020B0604020202020204"/>
              <a:cs typeface="Arial" panose="020B0604020202020204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Object 5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dirty="0"/>
              <a:t>Summary of Findings: Tesla</a:t>
            </a:r>
            <a:endParaRPr spc="-10" dirty="0"/>
          </a:p>
        </p:txBody>
      </p:sp>
      <p:graphicFrame>
        <p:nvGraphicFramePr>
          <p:cNvPr id="5" name="Table 6"/>
          <p:cNvGraphicFramePr>
            <a:graphicFrameLocks noGrp="1"/>
          </p:cNvGraphicFramePr>
          <p:nvPr/>
        </p:nvGraphicFramePr>
        <p:xfrm>
          <a:off x="517957" y="742950"/>
          <a:ext cx="8108087" cy="3733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9043"/>
                <a:gridCol w="5959044"/>
              </a:tblGrid>
              <a:tr h="129030">
                <a:tc>
                  <a:txBody>
                    <a:bodyPr/>
                    <a:lstStyle/>
                    <a:p>
                      <a:pPr>
                        <a:spcAft>
                          <a:spcPts val="200"/>
                        </a:spcAft>
                      </a:pPr>
                      <a:endParaRPr lang="en-AU" sz="100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AU" sz="1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94D8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58580">
                <a:tc>
                  <a:txBody>
                    <a:bodyPr/>
                    <a:lstStyle/>
                    <a:p>
                      <a:pPr>
                        <a:spcAft>
                          <a:spcPts val="200"/>
                        </a:spcAft>
                      </a:pPr>
                      <a:r>
                        <a:rPr lang="en-AU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 Thesis</a:t>
                      </a:r>
                      <a:endParaRPr lang="en-AU" sz="10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A distinct business model underpins its leadership in the market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Technological advantages stem from top-tier proprietary software and hardware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Cost benefits across electric vehicles and related technologies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Positioned for growth through new product launches, global expansion, and additional revenue streams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D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585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AU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Risks</a:t>
                      </a:r>
                      <a:endParaRPr lang="en-AU" sz="10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 2" panose="05020102010507070707" pitchFamily="18" charset="2"/>
                        <a:buChar char="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Current manufacturing capacity may be insufficient to meet rising demand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 2" panose="05020102010507070707" pitchFamily="18" charset="2"/>
                        <a:buChar char="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Shortages of chips due to geopolitical factors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 2" panose="05020102010507070707" pitchFamily="18" charset="2"/>
                        <a:buChar char="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Instability in the supply chain linked to cutting-edge technology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 2" panose="05020102010507070707" pitchFamily="18" charset="2"/>
                        <a:buChar char="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Risk associated with the key individual, founder Elon Musk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094D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D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585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AU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as of Due Diligence</a:t>
                      </a:r>
                      <a:endParaRPr lang="en-AU" sz="10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Capability to enhance manufacturing capacity and produce key inputs internally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Opportunities for expansion into various markets, regions, and price points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Assessment of threats from increasing competition from established players or new technologies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  <a:p>
                      <a:pPr marL="184150" marR="0" lvl="0" indent="-17145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AU" sz="1200" kern="1200" noProof="0" dirty="0">
                          <a:solidFill>
                            <a:srgbClr val="415363"/>
                          </a:solidFill>
                          <a:latin typeface="Arial" panose="020B0604020202020204"/>
                          <a:ea typeface="+mn-ea"/>
                          <a:cs typeface="Arial" panose="020B0604020202020204"/>
                        </a:rPr>
                        <a:t>Anticipated financial effects of adverse geopolitical tensions</a:t>
                      </a:r>
                      <a:endParaRPr lang="en-AU" sz="1200" kern="1200" noProof="0" dirty="0">
                        <a:solidFill>
                          <a:srgbClr val="415363"/>
                        </a:solidFill>
                        <a:latin typeface="Arial" panose="020B0604020202020204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094D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903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AU" sz="1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200"/>
                        </a:spcAft>
                      </a:pPr>
                      <a:endParaRPr lang="en-AU" sz="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15363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95</Words>
  <Application>WPS Spreadsheets</Application>
  <PresentationFormat>On-screen Show (16:9)</PresentationFormat>
  <Paragraphs>55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4</vt:i4>
      </vt:variant>
      <vt:variant>
        <vt:lpstr>幻灯片标题</vt:lpstr>
      </vt:variant>
      <vt:variant>
        <vt:i4>3</vt:i4>
      </vt:variant>
    </vt:vector>
  </HeadingPairs>
  <TitlesOfParts>
    <vt:vector size="19" baseType="lpstr">
      <vt:lpstr>Arial</vt:lpstr>
      <vt:lpstr>SimSun</vt:lpstr>
      <vt:lpstr>Wingdings</vt:lpstr>
      <vt:lpstr>Arial</vt:lpstr>
      <vt:lpstr>Wingdings 2</vt:lpstr>
      <vt:lpstr>Calibri</vt:lpstr>
      <vt:lpstr>Helvetica Neue</vt:lpstr>
      <vt:lpstr>Microsoft YaHei</vt:lpstr>
      <vt:lpstr>汉仪旗黑</vt:lpstr>
      <vt:lpstr>Arial Unicode MS</vt:lpstr>
      <vt:lpstr>宋体-简</vt:lpstr>
      <vt:lpstr>Office Theme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SWOT Analysis: Tesla</vt:lpstr>
      <vt:lpstr>Summary of Findings: Tesl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Fi kri</cp:lastModifiedBy>
  <cp:revision>2</cp:revision>
  <dcterms:created xsi:type="dcterms:W3CDTF">2025-01-17T10:13:39Z</dcterms:created>
  <dcterms:modified xsi:type="dcterms:W3CDTF">2025-01-17T10:1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5.7.1.8093</vt:lpwstr>
  </property>
</Properties>
</file>